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6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2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3865" r:id="rId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0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144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2.xml"/><Relationship Id="rId3" Type="http://schemas.openxmlformats.org/officeDocument/2006/relationships/presProps" Target="presProps.xml"/><Relationship Id="rId7" Type="http://schemas.openxmlformats.org/officeDocument/2006/relationships/customXml" Target="../customXml/item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Relationship Id="rId9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DCCFEB6-9682-4943-90C1-24AAD2B0B7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0E24584-2F44-43DF-8FFD-939C61F99E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136975C-0F4C-4943-A0EB-5A6B637DB5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1.12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91226D-B8C1-4277-95AA-EF48D92993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5AF1ED7-AB37-4E13-A6E9-84467FA112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0329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58F90D-1832-4AC0-969C-8A3FC9753B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5D3F0D9E-C263-4D70-8BEB-7D61905090E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DE164AB-6F3A-41EE-80CA-AE3C6059E7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1.12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064202-3235-4063-A812-2AFDDF7EF6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83F417-F6EB-408D-8F09-7D3A6BD92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41260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7DDC53A3-04BA-413B-8B37-58748950C51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CB483B6E-C8FA-485A-830E-BBF1BD3D279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6663D2A-F5DD-4EEF-B6A0-2BC8841F23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1.12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8153558-163B-4BB4-A24E-71210439ED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6541F77-6F84-417D-957D-A5E67FFE68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27587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only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A5688BA-4DA2-4BF5-9BBE-AF5695674E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0828024"/>
              </p:ext>
            </p:extLst>
          </p:nvPr>
        </p:nvGraphicFramePr>
        <p:xfrm>
          <a:off x="1589" y="1589"/>
          <a:ext cx="1588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6" imgW="425" imgH="426" progId="TCLayout.ActiveDocument.1">
                  <p:embed/>
                </p:oleObj>
              </mc:Choice>
              <mc:Fallback>
                <p:oleObj name="think-cell Folie" r:id="rId6" imgW="425" imgH="42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A5688BA-4DA2-4BF5-9BBE-AF5695674E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D3EBBA36-BC53-4100-B176-AB1A0F43E16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173" b="0" i="0" baseline="0" err="1">
              <a:latin typeface="TeleGrotesk Next Ultra" pitchFamily="2" charset="0"/>
              <a:ea typeface="+mj-ea"/>
              <a:cs typeface="+mj-cs"/>
              <a:sym typeface="TeleGrotesk Next Ultra" pitchFamily="2" charset="0"/>
            </a:endParaRPr>
          </a:p>
        </p:txBody>
      </p:sp>
      <p:sp>
        <p:nvSpPr>
          <p:cNvPr id="6" name="Flussdiagramm: Manuelle Eingabe 5">
            <a:extLst>
              <a:ext uri="{FF2B5EF4-FFF2-40B4-BE49-F238E27FC236}">
                <a16:creationId xmlns:a16="http://schemas.microsoft.com/office/drawing/2014/main" id="{E01BA4D1-F272-4959-88B5-3A3088B81425}"/>
              </a:ext>
            </a:extLst>
          </p:cNvPr>
          <p:cNvSpPr/>
          <p:nvPr userDrawn="1"/>
        </p:nvSpPr>
        <p:spPr bwMode="gray">
          <a:xfrm rot="10800000">
            <a:off x="-1168" y="-7"/>
            <a:ext cx="12209044" cy="1417293"/>
          </a:xfrm>
          <a:prstGeom prst="flowChartManualInput">
            <a:avLst/>
          </a:prstGeom>
          <a:blipFill dpi="0" rotWithShape="1">
            <a:blip r:embed="rId8"/>
            <a:srcRect/>
            <a:stretch>
              <a:fillRect l="133" t="-87702" r="-99000" b="-1321"/>
            </a:stretch>
          </a:blip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0"/>
          </a:effectLst>
        </p:spPr>
        <p:txBody>
          <a:bodyPr lIns="76175" tIns="0" rIns="76175" bIns="38087" rtlCol="0" anchor="ctr"/>
          <a:lstStyle/>
          <a:p>
            <a:pPr marL="0" marR="0" lvl="0" indent="3358" algn="ctr" defTabSz="483764" rtl="0" eaLnBrk="1" fontAlgn="base" latinLnBrk="0" hangingPunct="1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  <a:buFontTx/>
              <a:buNone/>
              <a:tabLst/>
              <a:defRPr/>
            </a:pPr>
            <a:endParaRPr kumimoji="0" lang="de-DE" sz="1905" b="0" i="0" u="none" strike="noStrike" kern="0" cap="none" spc="0" normalizeH="0" baseline="0" noProof="0" err="1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-GroteskNor"/>
              <a:ea typeface="+mn-ea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2838" y="266693"/>
            <a:ext cx="11504128" cy="533386"/>
          </a:xfrm>
        </p:spPr>
        <p:txBody>
          <a:bodyPr/>
          <a:lstStyle>
            <a:lvl1pPr marL="0" indent="0">
              <a:defRPr sz="4232">
                <a:solidFill>
                  <a:schemeClr val="bg1"/>
                </a:solidFill>
              </a:defRPr>
            </a:lvl1pPr>
          </a:lstStyle>
          <a:p>
            <a:r>
              <a:rPr lang="en-US" err="1"/>
              <a:t>TeleGrotesk</a:t>
            </a:r>
            <a:r>
              <a:rPr lang="en-US"/>
              <a:t> Headline Ultra 28 (32)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F5C734A-6DB8-4A84-9E8D-42FA2F5DAF14}" type="datetime1">
              <a:rPr lang="de-DE" noProof="0" smtClean="0"/>
              <a:t>01.12.2020</a:t>
            </a:fld>
            <a:endParaRPr lang="en-US" noProof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noProof="0"/>
              <a:t>Willkommen bei der T-Systems onsite</a:t>
            </a:r>
            <a:endParaRPr lang="en-US" noProof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38B9B04-5EA8-47AD-B115-08EE4F6C3422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80" y="6307041"/>
            <a:ext cx="3373620" cy="380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202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9E31E2-E2E8-4C2C-A950-5A2140E5DB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C134D7C-620F-461E-83A7-D1A6450724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F5150CA-DF3C-4B27-8D9D-147E603619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1.12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6EE7B6D-32C7-49A1-8325-B2C0F70035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86A0748-148C-4997-BD96-45589EB60C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94906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441092-385C-418C-AAC8-A6FA2EB2DE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5FBC69-DAAD-4AC8-AD57-C8CF2E2334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704D3A2-DBED-43AB-B0F2-0C74EC6CF7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1.12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606D8BD-372A-485F-81B8-69AFC104B0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D4CECAD-FA21-4DCD-A441-9A1109DCAF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1743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B5CF83-D344-40E2-966A-CEA8C88FF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BE6123F-A1A5-4631-9CF2-F08408BFF4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81EBB32-BECC-43DC-9702-7445FE5654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DBC53F5-2CD4-4459-AFAB-C83449B1D7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1.12.20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2255649-2381-4E5B-80F7-BADABFA96F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1076785-0758-4BA8-BEF4-82A9FC2437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40641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72CBC16-3F53-4E96-B21A-E59B99E61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4203F9B-4B9B-4365-9F5B-4A4C0CECB3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412109F-3CD7-4384-8413-7EFD536096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3821F1C-33F4-47CD-89A9-03AB424DA59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734D80E-5C73-4FE0-9999-4BED4A2957E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21870FC-CE9B-4946-8890-9D10A3593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1.12.2020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66ADC330-192C-4A2D-822E-36135F67EC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DEE9C6F-158A-4198-BDE6-1D7223A2F3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72438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7611EF-70AA-48B2-9906-D8A021FBDF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2246639-F54D-4D7A-9206-ACA9996374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1.12.2020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B427DF6-4789-47AF-8234-C9356A6573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F2B3B98-2DCB-4EFE-98B7-417501A0A1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92625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F80D27C-0D5C-4754-A777-5A03FE6D7B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1.12.2020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85FF390-77E2-4DFA-810A-539E94FD01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167074C-B0CE-4093-9B96-5AD52CD5F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22828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C3509A-B567-45D6-BC2A-3D6BEF3953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7145041-B10A-412A-8FB8-7D4AF1ED94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DED55CE-C202-4FCB-98C6-D92F8D5068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F593799-1F65-4635-B73C-F2E52B4FAC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1.12.20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B32476E-C433-41B7-A624-26D584175B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6675BBE-1C91-483C-A53C-5669EA3BFD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86114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D31278-2F6E-49F6-BF56-697947535C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5FBE379F-36FF-42CE-AD95-74B512BA11A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5F5D38C-34CF-4EDE-A85E-5EA480BC3C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6A83062-1EA0-4DCB-BAE2-550346645E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1.12.20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2A130DB-2590-4CED-959C-D93311CB58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7A3F3BB-1C1E-44EB-B90B-1752CDED4D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23663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BD224223-FEDD-4577-B584-8181141143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689A3F8-812D-49C3-BD79-20AF5D0DB5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B1AB672-068D-49C5-A5CE-F4568397E19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A54F60-1F53-4940-B629-48C47B87E964}" type="datetimeFigureOut">
              <a:rPr lang="de-DE" smtClean="0"/>
              <a:t>01.12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0CF3D70-B473-4346-A3ED-84353F93EE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111C2D1-3715-4E4B-AA80-5B3F753A44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5027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llipse 7">
            <a:extLst>
              <a:ext uri="{FF2B5EF4-FFF2-40B4-BE49-F238E27FC236}">
                <a16:creationId xmlns:a16="http://schemas.microsoft.com/office/drawing/2014/main" id="{1246B919-9C32-4444-83AD-4D3A883F8562}"/>
              </a:ext>
            </a:extLst>
          </p:cNvPr>
          <p:cNvSpPr/>
          <p:nvPr/>
        </p:nvSpPr>
        <p:spPr>
          <a:xfrm>
            <a:off x="1967881" y="297344"/>
            <a:ext cx="8254043" cy="6465673"/>
          </a:xfrm>
          <a:prstGeom prst="ellipse">
            <a:avLst/>
          </a:prstGeom>
          <a:gradFill flip="none" rotWithShape="1">
            <a:gsLst>
              <a:gs pos="0">
                <a:schemeClr val="bg2"/>
              </a:gs>
              <a:gs pos="71000">
                <a:schemeClr val="bg2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264" tIns="76176" rIns="114264" bIns="76176" rtlCol="0" anchor="ctr"/>
          <a:lstStyle/>
          <a:p>
            <a:pPr algn="ctr"/>
            <a:endParaRPr lang="de-DE" sz="1905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DF193E0-3C14-4CAD-90BF-F1DAFC617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T-Racer – Die Video Challeng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0417F07-5D83-4840-9247-B564477EF3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7985" y="192456"/>
            <a:ext cx="719960" cy="719960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23D567C5-C6E3-426E-975D-D35BAF0704D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30914">
            <a:off x="230471" y="1706142"/>
            <a:ext cx="3904597" cy="2928448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37B0B994-B4B0-4AEC-8195-568975DF629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8090" y="1474130"/>
            <a:ext cx="2273406" cy="4922681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CD2A83A9-7E7F-46BB-8332-D9E5B1712394}"/>
              </a:ext>
            </a:extLst>
          </p:cNvPr>
          <p:cNvSpPr txBox="1"/>
          <p:nvPr/>
        </p:nvSpPr>
        <p:spPr>
          <a:xfrm>
            <a:off x="6909119" y="1616164"/>
            <a:ext cx="4763807" cy="47806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02352" indent="-302352">
              <a:spcBef>
                <a:spcPts val="317"/>
              </a:spcBef>
              <a:buFont typeface="Arial" panose="020B0604020202020204" pitchFamily="34" charset="0"/>
              <a:buChar char="•"/>
            </a:pPr>
            <a:r>
              <a:rPr lang="de-DE" sz="1905" dirty="0">
                <a:solidFill>
                  <a:schemeClr val="bg1"/>
                </a:solidFill>
              </a:rPr>
              <a:t>Gib DEINEM Racer, die Bühne die er verdient hat!</a:t>
            </a:r>
          </a:p>
          <a:p>
            <a:pPr marL="302352" indent="-302352">
              <a:spcBef>
                <a:spcPts val="317"/>
              </a:spcBef>
              <a:buFont typeface="Arial" panose="020B0604020202020204" pitchFamily="34" charset="0"/>
              <a:buChar char="•"/>
            </a:pPr>
            <a:r>
              <a:rPr lang="de-DE" sz="1905" dirty="0">
                <a:solidFill>
                  <a:schemeClr val="bg1"/>
                </a:solidFill>
              </a:rPr>
              <a:t>Max. 15 Sekunden Video!</a:t>
            </a:r>
          </a:p>
          <a:p>
            <a:pPr marL="302352" indent="-302352">
              <a:spcBef>
                <a:spcPts val="317"/>
              </a:spcBef>
              <a:buFont typeface="Arial" panose="020B0604020202020204" pitchFamily="34" charset="0"/>
              <a:buChar char="•"/>
            </a:pPr>
            <a:r>
              <a:rPr lang="de-DE" sz="1905" dirty="0">
                <a:solidFill>
                  <a:schemeClr val="bg1"/>
                </a:solidFill>
              </a:rPr>
              <a:t>Bis zum 3. Dezember  @</a:t>
            </a:r>
            <a:r>
              <a:rPr lang="de-DE" sz="1905" dirty="0" err="1">
                <a:solidFill>
                  <a:schemeClr val="bg1"/>
                </a:solidFill>
              </a:rPr>
              <a:t>TelekomCareer</a:t>
            </a:r>
            <a:r>
              <a:rPr lang="de-DE" sz="1905" dirty="0">
                <a:solidFill>
                  <a:schemeClr val="bg1"/>
                </a:solidFill>
              </a:rPr>
              <a:t> Instagram!</a:t>
            </a:r>
          </a:p>
          <a:p>
            <a:pPr marL="302352" indent="-302352">
              <a:spcBef>
                <a:spcPts val="317"/>
              </a:spcBef>
              <a:buFont typeface="Arial" panose="020B0604020202020204" pitchFamily="34" charset="0"/>
              <a:buChar char="•"/>
            </a:pPr>
            <a:r>
              <a:rPr lang="de-DE" sz="1905" dirty="0">
                <a:solidFill>
                  <a:schemeClr val="bg1"/>
                </a:solidFill>
              </a:rPr>
              <a:t>Wir belohnen die kreativsten Werke mit einem exklusiven Magenta-Care-Paket!</a:t>
            </a:r>
          </a:p>
          <a:p>
            <a:pPr marL="302352" indent="-302352">
              <a:spcBef>
                <a:spcPts val="317"/>
              </a:spcBef>
              <a:buFont typeface="Arial" panose="020B0604020202020204" pitchFamily="34" charset="0"/>
              <a:buChar char="•"/>
            </a:pPr>
            <a:endParaRPr lang="de-DE" sz="1905" dirty="0">
              <a:solidFill>
                <a:schemeClr val="bg1"/>
              </a:solidFill>
            </a:endParaRPr>
          </a:p>
          <a:p>
            <a:pPr marL="302352" indent="-302352">
              <a:spcBef>
                <a:spcPts val="317"/>
              </a:spcBef>
              <a:buFont typeface="Arial" panose="020B0604020202020204" pitchFamily="34" charset="0"/>
              <a:buChar char="•"/>
            </a:pPr>
            <a:r>
              <a:rPr lang="de-DE" sz="1905" dirty="0" err="1">
                <a:solidFill>
                  <a:schemeClr val="bg1"/>
                </a:solidFill>
              </a:rPr>
              <a:t>Have</a:t>
            </a:r>
            <a:r>
              <a:rPr lang="de-DE" sz="1905" dirty="0">
                <a:solidFill>
                  <a:schemeClr val="bg1"/>
                </a:solidFill>
              </a:rPr>
              <a:t> </a:t>
            </a:r>
            <a:r>
              <a:rPr lang="de-DE" sz="1905" dirty="0" err="1">
                <a:solidFill>
                  <a:schemeClr val="bg1"/>
                </a:solidFill>
              </a:rPr>
              <a:t>fun</a:t>
            </a:r>
            <a:r>
              <a:rPr lang="de-DE" sz="1905" dirty="0">
                <a:solidFill>
                  <a:schemeClr val="bg1"/>
                </a:solidFill>
              </a:rPr>
              <a:t> and </a:t>
            </a:r>
            <a:r>
              <a:rPr lang="de-DE" sz="1905" dirty="0" err="1">
                <a:solidFill>
                  <a:schemeClr val="bg1"/>
                </a:solidFill>
              </a:rPr>
              <a:t>safe</a:t>
            </a:r>
            <a:r>
              <a:rPr lang="de-DE" sz="1905" dirty="0">
                <a:solidFill>
                  <a:schemeClr val="bg1"/>
                </a:solidFill>
              </a:rPr>
              <a:t> </a:t>
            </a:r>
            <a:r>
              <a:rPr lang="de-DE" sz="1905" dirty="0" err="1">
                <a:solidFill>
                  <a:schemeClr val="bg1"/>
                </a:solidFill>
              </a:rPr>
              <a:t>racing</a:t>
            </a:r>
            <a:r>
              <a:rPr lang="de-DE" sz="1905" dirty="0">
                <a:solidFill>
                  <a:schemeClr val="bg1"/>
                </a:solidFill>
              </a:rPr>
              <a:t> </a:t>
            </a:r>
            <a:r>
              <a:rPr lang="de-DE" sz="1905" dirty="0">
                <a:solidFill>
                  <a:schemeClr val="bg1"/>
                </a:solidFill>
                <a:sym typeface="Wingdings" panose="05000000000000000000" pitchFamily="2" charset="2"/>
              </a:rPr>
              <a:t></a:t>
            </a:r>
            <a:endParaRPr lang="de-DE" sz="1905" dirty="0">
              <a:solidFill>
                <a:schemeClr val="bg1"/>
              </a:solidFill>
            </a:endParaRPr>
          </a:p>
          <a:p>
            <a:pPr marL="302352" indent="-302352">
              <a:spcBef>
                <a:spcPts val="317"/>
              </a:spcBef>
              <a:buFont typeface="Arial" panose="020B0604020202020204" pitchFamily="34" charset="0"/>
              <a:buChar char="•"/>
            </a:pPr>
            <a:endParaRPr lang="de-DE" sz="1905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09071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CIeCORzyYfCoUcNcPTz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0450A8E42E0784C942543964FC896D2" ma:contentTypeVersion="12" ma:contentTypeDescription="Ein neues Dokument erstellen." ma:contentTypeScope="" ma:versionID="4ff310766af552900e9995ea116e5ba5">
  <xsd:schema xmlns:xsd="http://www.w3.org/2001/XMLSchema" xmlns:xs="http://www.w3.org/2001/XMLSchema" xmlns:p="http://schemas.microsoft.com/office/2006/metadata/properties" xmlns:ns2="9b3e37a5-133d-4b02-8cfa-06e53e30ddc5" xmlns:ns3="966c277d-c3bd-4082-af73-82823d47d64f" targetNamespace="http://schemas.microsoft.com/office/2006/metadata/properties" ma:root="true" ma:fieldsID="751319ff661b345339f927c603b9c570" ns2:_="" ns3:_="">
    <xsd:import namespace="9b3e37a5-133d-4b02-8cfa-06e53e30ddc5"/>
    <xsd:import namespace="966c277d-c3bd-4082-af73-82823d47d64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3e37a5-133d-4b02-8cfa-06e53e30ddc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6c277d-c3bd-4082-af73-82823d47d64f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958E985-7F23-4140-8016-2D97B3BF1B16}"/>
</file>

<file path=customXml/itemProps2.xml><?xml version="1.0" encoding="utf-8"?>
<ds:datastoreItem xmlns:ds="http://schemas.openxmlformats.org/officeDocument/2006/customXml" ds:itemID="{55EA170D-A1F3-4D42-B2ED-242F1665EA18}"/>
</file>

<file path=customXml/itemProps3.xml><?xml version="1.0" encoding="utf-8"?>
<ds:datastoreItem xmlns:ds="http://schemas.openxmlformats.org/officeDocument/2006/customXml" ds:itemID="{5A48829D-98C0-4372-8E52-C69D36FB2E35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7</Words>
  <Application>Microsoft Office PowerPoint</Application>
  <PresentationFormat>Breitbild</PresentationFormat>
  <Paragraphs>7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Calibri Light</vt:lpstr>
      <vt:lpstr>TeleGrotesk Next Ultra</vt:lpstr>
      <vt:lpstr>Tele-GroteskNor</vt:lpstr>
      <vt:lpstr>Office</vt:lpstr>
      <vt:lpstr>think-cell Folie</vt:lpstr>
      <vt:lpstr>T-Racer – Die Video Challeng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-Racer – Die Video Challenge</dc:title>
  <dc:creator>Kummerfeldt, Tim</dc:creator>
  <cp:lastModifiedBy>Kummerfeldt, Tim</cp:lastModifiedBy>
  <cp:revision>1</cp:revision>
  <dcterms:created xsi:type="dcterms:W3CDTF">2020-11-25T20:54:32Z</dcterms:created>
  <dcterms:modified xsi:type="dcterms:W3CDTF">2020-12-01T07:03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0450A8E42E0784C942543964FC896D2</vt:lpwstr>
  </property>
</Properties>
</file>